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47"/>
  </p:notesMasterIdLst>
  <p:handoutMasterIdLst>
    <p:handoutMasterId r:id="rId48"/>
  </p:handoutMasterIdLst>
  <p:sldIdLst>
    <p:sldId id="256" r:id="rId5"/>
    <p:sldId id="294" r:id="rId6"/>
    <p:sldId id="273" r:id="rId7"/>
    <p:sldId id="272" r:id="rId8"/>
    <p:sldId id="275" r:id="rId9"/>
    <p:sldId id="276" r:id="rId10"/>
    <p:sldId id="278" r:id="rId11"/>
    <p:sldId id="277" r:id="rId12"/>
    <p:sldId id="274" r:id="rId13"/>
    <p:sldId id="260" r:id="rId14"/>
    <p:sldId id="279" r:id="rId15"/>
    <p:sldId id="280" r:id="rId16"/>
    <p:sldId id="281" r:id="rId17"/>
    <p:sldId id="282" r:id="rId18"/>
    <p:sldId id="283" r:id="rId19"/>
    <p:sldId id="284" r:id="rId20"/>
    <p:sldId id="290" r:id="rId21"/>
    <p:sldId id="299" r:id="rId22"/>
    <p:sldId id="286" r:id="rId23"/>
    <p:sldId id="287" r:id="rId24"/>
    <p:sldId id="298" r:id="rId25"/>
    <p:sldId id="291" r:id="rId26"/>
    <p:sldId id="292" r:id="rId27"/>
    <p:sldId id="293" r:id="rId28"/>
    <p:sldId id="295" r:id="rId29"/>
    <p:sldId id="296" r:id="rId30"/>
    <p:sldId id="297" r:id="rId31"/>
    <p:sldId id="300" r:id="rId32"/>
    <p:sldId id="301" r:id="rId33"/>
    <p:sldId id="302" r:id="rId34"/>
    <p:sldId id="305" r:id="rId35"/>
    <p:sldId id="303" r:id="rId36"/>
    <p:sldId id="309" r:id="rId37"/>
    <p:sldId id="304" r:id="rId38"/>
    <p:sldId id="306" r:id="rId39"/>
    <p:sldId id="307" r:id="rId40"/>
    <p:sldId id="310" r:id="rId41"/>
    <p:sldId id="314" r:id="rId42"/>
    <p:sldId id="311" r:id="rId43"/>
    <p:sldId id="312" r:id="rId44"/>
    <p:sldId id="313" r:id="rId45"/>
    <p:sldId id="268" r:id="rId46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3D0A64C-F345-4CFA-A321-E2CD74062E41}">
          <p14:sldIdLst>
            <p14:sldId id="256"/>
          </p14:sldIdLst>
        </p14:section>
        <p14:section name="Untitled Section" id="{52937054-99E4-4967-960E-159D0A533F91}">
          <p14:sldIdLst>
            <p14:sldId id="294"/>
            <p14:sldId id="273"/>
            <p14:sldId id="272"/>
            <p14:sldId id="275"/>
            <p14:sldId id="276"/>
            <p14:sldId id="278"/>
            <p14:sldId id="277"/>
            <p14:sldId id="274"/>
            <p14:sldId id="260"/>
            <p14:sldId id="279"/>
            <p14:sldId id="280"/>
            <p14:sldId id="281"/>
            <p14:sldId id="282"/>
            <p14:sldId id="283"/>
            <p14:sldId id="284"/>
            <p14:sldId id="290"/>
            <p14:sldId id="299"/>
            <p14:sldId id="286"/>
            <p14:sldId id="287"/>
            <p14:sldId id="298"/>
            <p14:sldId id="291"/>
            <p14:sldId id="292"/>
            <p14:sldId id="293"/>
            <p14:sldId id="295"/>
            <p14:sldId id="296"/>
            <p14:sldId id="297"/>
            <p14:sldId id="300"/>
            <p14:sldId id="301"/>
            <p14:sldId id="302"/>
            <p14:sldId id="305"/>
            <p14:sldId id="303"/>
            <p14:sldId id="309"/>
            <p14:sldId id="304"/>
            <p14:sldId id="306"/>
            <p14:sldId id="307"/>
            <p14:sldId id="310"/>
            <p14:sldId id="314"/>
            <p14:sldId id="311"/>
            <p14:sldId id="312"/>
            <p14:sldId id="313"/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622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pos="2835">
          <p15:clr>
            <a:srgbClr val="A4A3A4"/>
          </p15:clr>
        </p15:guide>
        <p15:guide id="15" pos="2925">
          <p15:clr>
            <a:srgbClr val="A4A3A4"/>
          </p15:clr>
        </p15:guide>
        <p15:guide id="16" pos="3742">
          <p15:clr>
            <a:srgbClr val="A4A3A4"/>
          </p15:clr>
        </p15:guide>
        <p15:guide id="17" pos="3833">
          <p15:clr>
            <a:srgbClr val="A4A3A4"/>
          </p15:clr>
        </p15:guide>
        <p15:guide id="18" pos="4649">
          <p15:clr>
            <a:srgbClr val="A4A3A4"/>
          </p15:clr>
        </p15:guide>
        <p15:guide id="19" pos="4740">
          <p15:clr>
            <a:srgbClr val="A4A3A4"/>
          </p15:clr>
        </p15:guide>
        <p15:guide id="20" pos="2018">
          <p15:clr>
            <a:srgbClr val="A4A3A4"/>
          </p15:clr>
        </p15:guide>
        <p15:guide id="21" pos="1927">
          <p15:clr>
            <a:srgbClr val="A4A3A4"/>
          </p15:clr>
        </p15:guide>
        <p15:guide id="22" pos="1111">
          <p15:clr>
            <a:srgbClr val="A4A3A4"/>
          </p15:clr>
        </p15:guide>
        <p15:guide id="23" pos="1020">
          <p15:clr>
            <a:srgbClr val="A4A3A4"/>
          </p15:clr>
        </p15:guide>
        <p15:guide id="24" pos="204">
          <p15:clr>
            <a:srgbClr val="A4A3A4"/>
          </p15:clr>
        </p15:guide>
        <p15:guide id="25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B200"/>
    <a:srgbClr val="FFD6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49" autoAdjust="0"/>
    <p:restoredTop sz="94639" autoAdjust="0"/>
  </p:normalViewPr>
  <p:slideViewPr>
    <p:cSldViewPr showGuides="1">
      <p:cViewPr>
        <p:scale>
          <a:sx n="80" d="100"/>
          <a:sy n="80" d="100"/>
        </p:scale>
        <p:origin x="1146" y="204"/>
      </p:cViewPr>
      <p:guideLst>
        <p:guide orient="horz" pos="2981"/>
        <p:guide orient="horz" pos="3026"/>
        <p:guide orient="horz" pos="3117"/>
        <p:guide orient="horz" pos="622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-4224" y="-864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703157" y="9427939"/>
            <a:ext cx="648089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703157" y="9427939"/>
            <a:ext cx="648431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defRPr sz="1000" kern="1200">
        <a:solidFill>
          <a:schemeClr val="tx2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2075" indent="-92075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79388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265113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70000" indent="-900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297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3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4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820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0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4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800" b="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48" y="4642135"/>
            <a:ext cx="8496299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855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874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323851" y="987424"/>
            <a:ext cx="8496300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603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 bwMode="gray">
          <a:xfrm>
            <a:off x="323850" y="987424"/>
            <a:ext cx="8496300" cy="396081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642135"/>
            <a:ext cx="8209140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/>
            </a:lvl1pPr>
            <a:lvl2pPr marL="358775" indent="0">
              <a:spcAft>
                <a:spcPts val="4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779640"/>
            <a:ext cx="9144000" cy="158422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96" name="Gruppieren 95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uppieren 108"/>
          <p:cNvGrpSpPr/>
          <p:nvPr userDrawn="1"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uppieren 121"/>
          <p:cNvGrpSpPr/>
          <p:nvPr userDrawn="1"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123" name="Gerade Verbindung 122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128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129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814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995670"/>
            <a:ext cx="9144000" cy="1152160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7795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64401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32038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0842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419"/>
            <a:ext cx="7600949" cy="5761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323850" y="915520"/>
            <a:ext cx="8496300" cy="381681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5708" y="195420"/>
            <a:ext cx="576079" cy="576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VCT_Marker_ID_4" hidden="1"/>
          <p:cNvSpPr/>
          <p:nvPr>
            <p:custDataLst>
              <p:tags r:id="rId1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4" name="Gruppieren 63"/>
          <p:cNvGrpSpPr/>
          <p:nvPr/>
        </p:nvGrpSpPr>
        <p:grpSpPr bwMode="gray">
          <a:xfrm>
            <a:off x="-324680" y="771500"/>
            <a:ext cx="216030" cy="4176580"/>
            <a:chOff x="9252650" y="771500"/>
            <a:chExt cx="216030" cy="417658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2017 | Psychotherapists of New York City | October</a:t>
            </a:r>
            <a:r>
              <a:rPr lang="en-US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25,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75" r:id="rId4"/>
    <p:sldLayoutId id="2147483677" r:id="rId5"/>
    <p:sldLayoutId id="2147483654" r:id="rId6"/>
    <p:sldLayoutId id="2147483650" r:id="rId7"/>
    <p:sldLayoutId id="2147483652" r:id="rId8"/>
    <p:sldLayoutId id="2147483678" r:id="rId9"/>
    <p:sldLayoutId id="2147483664" r:id="rId10"/>
    <p:sldLayoutId id="2147483673" r:id="rId11"/>
    <p:sldLayoutId id="2147483665" r:id="rId12"/>
    <p:sldLayoutId id="2147483668" r:id="rId13"/>
    <p:sldLayoutId id="2147483670" r:id="rId14"/>
    <p:sldLayoutId id="214748367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wmf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w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sychotherapists of new York city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sights from “Scraping” Psychology Today’s Website “Find a Therapist” for New York City Zip Cod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Dimitri Liakhovitski, Ph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873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o Are The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60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at did they study? What are their degre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77050" y="144892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Clinical Social Worker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</a:t>
            </a:r>
            <a:r>
              <a:rPr lang="en-US" sz="1600" dirty="0" smtClean="0"/>
              <a:t>ollowed by Clinical Psychologists (PhD)</a:t>
            </a: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123950"/>
            <a:ext cx="6280629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99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re did they study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04800" y="112395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schools in or around New York 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YU is in the le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146330"/>
            <a:ext cx="4876800" cy="495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266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n did they finish their studi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15000" y="1352550"/>
            <a:ext cx="3105150" cy="9144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Year of graduation is a “write-in” fi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istribution looks norm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4964872" cy="297180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 flipV="1">
            <a:off x="1447800" y="2266950"/>
            <a:ext cx="0" cy="18288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121594" y="4040816"/>
            <a:ext cx="3200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852371" y="3803352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0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1807534" y="1504950"/>
            <a:ext cx="0" cy="29260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143000" y="40638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2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1132367" y="4290682"/>
            <a:ext cx="658368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2449033" y="2332517"/>
            <a:ext cx="0" cy="22860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752600" y="4248150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64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1126341" y="4508649"/>
            <a:ext cx="128016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V="1">
            <a:off x="3744433" y="3181350"/>
            <a:ext cx="0" cy="100584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3744433" y="4095750"/>
            <a:ext cx="128476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6200" y="3844555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3079899" y="2986418"/>
            <a:ext cx="0" cy="15544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3113566" y="4400550"/>
            <a:ext cx="192024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320901" y="41400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7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62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How long have they been practicing psychotherapy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789431" y="16573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Year they started their practice is also a “write-in” field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Weird spikes around 11,17, 25 and 37 years in </a:t>
            </a:r>
            <a:r>
              <a:rPr lang="en-US" sz="1600" dirty="0" smtClean="0"/>
              <a:t>practice.</a:t>
            </a:r>
            <a:endParaRPr lang="en-US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346144"/>
            <a:ext cx="5562600" cy="290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74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Years since graduation vs. years in practi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62650" y="15049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They are correlated at 0.84, but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No explanation for  weird spikes around 11,17, 25 and 37 years in practice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221539"/>
            <a:ext cx="5565660" cy="333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06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If you are practicing psychotherapy in </a:t>
            </a:r>
            <a:r>
              <a:rPr lang="en-US" dirty="0"/>
              <a:t>NY State without a NY </a:t>
            </a:r>
            <a:r>
              <a:rPr lang="en-US" dirty="0" smtClean="0"/>
              <a:t>license, you are breaking the law, but…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43600" y="1428750"/>
            <a:ext cx="280035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236 therapist (1.9%) listed licenses from states outside N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dditional 379 therapists (3%) listed no license at al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re 4.9% of therapists breaking the law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ost of non-NY state licenses are from NJ, followed by Connecticu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01356"/>
            <a:ext cx="5639141" cy="337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12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languages they speak besides Englis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99" y="991047"/>
            <a:ext cx="4601070" cy="39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370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Fees &amp; Insurance Pla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8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5612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28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About the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48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? Do they accept insuranc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1040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>
          <a:xfrm>
            <a:off x="4644010" y="1144120"/>
            <a:ext cx="4176713" cy="31040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71% of therapists say they accept insur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t only 50% list at least one insurance plan they actually acce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us, 21% are not truly accepting insurance, despite their claim they 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177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nsurance plans do they accept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6864874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828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 – Who Do They Focus on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88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 groups they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1200150"/>
            <a:ext cx="5728699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065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ial population groups they are interested in treat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232614"/>
            <a:ext cx="5801767" cy="347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476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popular (among therapists) therapeutic areas of special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40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(among psychotherapist) specialty are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26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740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64" y="819150"/>
            <a:ext cx="4853724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438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few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30" y="804740"/>
            <a:ext cx="4905870" cy="415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3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apeutic approaches therapists favo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72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87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York is a city with a well-established ‘talk therapy’ tradition. But who are those therapists? </a:t>
            </a:r>
            <a:r>
              <a:rPr lang="en-US" dirty="0" smtClean="0"/>
              <a:t>Information </a:t>
            </a:r>
            <a:r>
              <a:rPr lang="en-US" dirty="0"/>
              <a:t>is hard to find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915521"/>
            <a:ext cx="8496300" cy="665630"/>
          </a:xfrm>
        </p:spPr>
        <p:txBody>
          <a:bodyPr/>
          <a:lstStyle/>
          <a:p>
            <a:r>
              <a:rPr lang="en-US" dirty="0" smtClean="0"/>
              <a:t>Google it – you find next </a:t>
            </a:r>
          </a:p>
          <a:p>
            <a:r>
              <a:rPr lang="en-US" dirty="0" smtClean="0"/>
              <a:t>to nothing!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5" name="Gerade Verbindung 24"/>
          <p:cNvCxnSpPr>
            <a:endCxn id="12" idx="0"/>
          </p:cNvCxnSpPr>
          <p:nvPr>
            <p:custDataLst>
              <p:tags r:id="rId1"/>
            </p:custDataLst>
          </p:nvPr>
        </p:nvCxnSpPr>
        <p:spPr bwMode="gray">
          <a:xfrm>
            <a:off x="4571910" y="3507880"/>
            <a:ext cx="180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5"/>
          <p:cNvCxnSpPr/>
          <p:nvPr>
            <p:custDataLst>
              <p:tags r:id="rId2"/>
            </p:custDataLst>
          </p:nvPr>
        </p:nvCxnSpPr>
        <p:spPr bwMode="gray">
          <a:xfrm flipH="1" flipV="1">
            <a:off x="5220090" y="3219450"/>
            <a:ext cx="1008140" cy="28860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26"/>
          <p:cNvCxnSpPr/>
          <p:nvPr>
            <p:custDataLst>
              <p:tags r:id="rId3"/>
            </p:custDataLst>
          </p:nvPr>
        </p:nvCxnSpPr>
        <p:spPr bwMode="gray">
          <a:xfrm flipV="1">
            <a:off x="5220090" y="2283881"/>
            <a:ext cx="1008140" cy="359879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27"/>
          <p:cNvCxnSpPr>
            <a:endCxn id="14" idx="4"/>
          </p:cNvCxnSpPr>
          <p:nvPr>
            <p:custDataLst>
              <p:tags r:id="rId4"/>
            </p:custDataLst>
          </p:nvPr>
        </p:nvCxnSpPr>
        <p:spPr bwMode="gray">
          <a:xfrm flipH="1" flipV="1">
            <a:off x="4568809" y="2067530"/>
            <a:ext cx="3191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28"/>
          <p:cNvCxnSpPr/>
          <p:nvPr>
            <p:custDataLst>
              <p:tags r:id="rId5"/>
            </p:custDataLst>
          </p:nvPr>
        </p:nvCxnSpPr>
        <p:spPr bwMode="gray">
          <a:xfrm flipH="1">
            <a:off x="2915770" y="3219450"/>
            <a:ext cx="1008140" cy="36061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29"/>
          <p:cNvCxnSpPr/>
          <p:nvPr>
            <p:custDataLst>
              <p:tags r:id="rId6"/>
            </p:custDataLst>
          </p:nvPr>
        </p:nvCxnSpPr>
        <p:spPr bwMode="gray">
          <a:xfrm flipH="1" flipV="1">
            <a:off x="2915771" y="2283880"/>
            <a:ext cx="1008139" cy="3598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51900" y="36520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Oval 1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924090" y="372406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Insurances do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accept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Oval 1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851900" y="91552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4" name="Oval 1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20809" y="9875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degrees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hav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" name="Oval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9567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6" name="Oval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6768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are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ir areas of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specialt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" name="Oval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50833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8" name="Oval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58014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ere did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stud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9" name="Oval 1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19567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0" name="Oval 1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26768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patient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ypes do they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prefer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1" name="Oval 1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50833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Oval 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58032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How much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charg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3" name="Oval 9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923910" y="2355890"/>
            <a:ext cx="1296000" cy="1080000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50000">
                <a:schemeClr val="tx2"/>
              </a:gs>
              <a:gs pos="100000">
                <a:schemeClr val="tx2"/>
              </a:gs>
            </a:gsLst>
            <a:lin ang="5400000" scaled="0"/>
          </a:gradFill>
          <a:ln w="2857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Who are 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they?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734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therapeutic approach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39" y="971550"/>
            <a:ext cx="7303057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36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at Zip Codes Have More Therapist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291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61" y="971550"/>
            <a:ext cx="6216639" cy="3721065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8194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No justice!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just 0.20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ny zip codes with large population but few therapis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ybe median income per zip code also has an impact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76800" y="13525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09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wonder: Richer (darker) zip codes have more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895350"/>
            <a:ext cx="7595180" cy="3962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463901" y="133305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817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47750"/>
            <a:ext cx="6572751" cy="3429000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8 (!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If both are logged, correlation is 0.51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</a:t>
            </a:r>
            <a:r>
              <a:rPr lang="en-US" sz="1400" dirty="0" smtClean="0">
                <a:sym typeface="Wingdings" panose="05000000000000000000" pitchFamily="2" charset="2"/>
              </a:rPr>
              <a:t> more therapists</a:t>
            </a: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learly, both population size AND income impact the number of therapist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006701" y="143938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52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TOTAL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381000" y="971550"/>
            <a:ext cx="8001000" cy="685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Total income proxy = median income * number of households</a:t>
            </a:r>
          </a:p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Correlation of 0.63 (!)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733550"/>
            <a:ext cx="8777522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086600" y="18097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527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729" y="1276350"/>
            <a:ext cx="6280629" cy="3276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session fe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39268" y="1644948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is associated with higher fe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76800" y="1636084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225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ualization </a:t>
            </a:r>
            <a:r>
              <a:rPr lang="en-US" dirty="0" smtClean="0"/>
              <a:t>of “therapist density” in NYC by </a:t>
            </a:r>
            <a:r>
              <a:rPr lang="en-US" dirty="0" smtClean="0"/>
              <a:t>zip 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99" y="1047750"/>
            <a:ext cx="7167741" cy="3895223"/>
          </a:xfrm>
          <a:prstGeom prst="rect">
            <a:avLst/>
          </a:prstGeom>
        </p:spPr>
      </p:pic>
      <p:sp>
        <p:nvSpPr>
          <p:cNvPr id="7" name="Content Placeholder 2"/>
          <p:cNvSpPr txBox="1">
            <a:spLocks/>
          </p:cNvSpPr>
          <p:nvPr/>
        </p:nvSpPr>
        <p:spPr bwMode="gray">
          <a:xfrm>
            <a:off x="7467600" y="2266950"/>
            <a:ext cx="1295400" cy="11430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</a:t>
            </a:r>
            <a:r>
              <a:rPr lang="en-US" sz="1400" dirty="0" smtClean="0"/>
              <a:t>households</a:t>
            </a: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2245328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high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047750"/>
            <a:ext cx="5480566" cy="3900610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1187301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rich Manhattan zip codes</a:t>
            </a:r>
          </a:p>
        </p:txBody>
      </p:sp>
    </p:spTree>
    <p:extLst>
      <p:ext uri="{BB962C8B-B14F-4D97-AF65-F5344CB8AC3E}">
        <p14:creationId xmlns:p14="http://schemas.microsoft.com/office/powerpoint/2010/main" val="1475687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? Web scraping! But what web sit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6096000" y="1047750"/>
            <a:ext cx="2209800" cy="1905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sychology Today’s “Find a therapist” website is the premium self-advertising platform for psychotherapists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5562600" cy="4017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102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low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the poorest neighborhoods – and they are outside Manhattan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84" y="971551"/>
            <a:ext cx="5597264" cy="3983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40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ions for future resear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ow do specialties / approaches / issues clus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hat therapist characteristics predict session fee and/or acceptance of insurance, and how?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llect additional data at zip level, e.g., number of people working in each zip code, to further study possible causes of differing therapist density.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 smtClean="0"/>
              <a:t>Practical Implications of this data set: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apist considering opening a practice in a given NYC zip code could gain valuable insights that allow them to differentiate themselves from competitors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17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hank you!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Q&amp;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7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Results of therapist search in one zip 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6705600" cy="3874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2234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Psychology Today page of one psychotherapis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19150"/>
            <a:ext cx="7391400" cy="405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3875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1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50" y="895350"/>
            <a:ext cx="5837315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289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2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66" y="1079649"/>
            <a:ext cx="5236534" cy="3819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461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Step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Box 14"/>
          <p:cNvSpPr txBox="1">
            <a:spLocks noChangeArrowheads="1"/>
          </p:cNvSpPr>
          <p:nvPr/>
        </p:nvSpPr>
        <p:spPr bwMode="gray">
          <a:xfrm>
            <a:off x="323410" y="1581150"/>
            <a:ext cx="2735703" cy="791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Scraped all therapists in New York city zip codes on October 17-19, 2017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ine 16"/>
          <p:cNvSpPr>
            <a:spLocks noChangeShapeType="1"/>
          </p:cNvSpPr>
          <p:nvPr/>
        </p:nvSpPr>
        <p:spPr bwMode="gray">
          <a:xfrm flipV="1">
            <a:off x="323410" y="1581150"/>
            <a:ext cx="0" cy="792000"/>
          </a:xfrm>
          <a:prstGeom prst="line">
            <a:avLst/>
          </a:prstGeom>
          <a:noFill/>
          <a:ln w="9525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gray">
          <a:xfrm>
            <a:off x="3203809" y="3336925"/>
            <a:ext cx="2736615" cy="764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72000" bIns="0" anchor="t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Cleaned non-standard open-end entries by therapists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Line 16"/>
          <p:cNvSpPr>
            <a:spLocks noChangeShapeType="1"/>
          </p:cNvSpPr>
          <p:nvPr/>
        </p:nvSpPr>
        <p:spPr bwMode="gray">
          <a:xfrm flipV="1">
            <a:off x="3203810" y="3309280"/>
            <a:ext cx="0" cy="79200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gray">
          <a:xfrm>
            <a:off x="6084211" y="1581150"/>
            <a:ext cx="2735703" cy="791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Analyzed the data &amp; created graphics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Line 16"/>
          <p:cNvSpPr>
            <a:spLocks noChangeShapeType="1"/>
          </p:cNvSpPr>
          <p:nvPr/>
        </p:nvSpPr>
        <p:spPr bwMode="gray">
          <a:xfrm flipV="1">
            <a:off x="6084211" y="1581150"/>
            <a:ext cx="0" cy="79200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848" y="2372707"/>
            <a:ext cx="2952000" cy="936624"/>
          </a:xfrm>
          <a:prstGeom prst="homePlate">
            <a:avLst>
              <a:gd name="adj" fmla="val 28868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Web Scraping Psychology Today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04220" y="2372707"/>
            <a:ext cx="2952000" cy="932190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Data Cleaning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85060" y="2372708"/>
            <a:ext cx="2735530" cy="935038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Analysis &amp; Visualization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250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ULvWPfbESkYUYqyN3D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qFoU7PA0eluxxcvkLU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r7diWfake76W_SL3_i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MJLb_J_U61wOYXG6O8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5SN49S8UOk7NicOdw0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C6XTiWUSfa8VDqeWr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FPymDGWkm_4SRoOfal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V9A1QG7kiyQfSh1.Hi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flVBQDUCKJVtv9p4m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6Dyu0L2US6LbxsGa0W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7.12.2011 15:26:33"/>
  <p:tag name="VCT-TEMPLATE" val="GfK Template for Office  2007-2010 16-9.potx"/>
  <p:tag name="VCTMASTER" val="GfK Template PPT 2007-2010 16-9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uJGv3fcUCx16qhIG_r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JC_chN0iKK8.TadUC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LPpSM9BEqS9l5PczEb4g"/>
  <p:tag name="VCT-ANGLE" val="6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WQINSfOUCBvIrzQGu5Sw"/>
  <p:tag name="VCT-ANGLE" val="6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qo9iTAUE6fZ2YLYSlV8w"/>
  <p:tag name="VCT-ANGLE" val="6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xYMr2WvUSWGoksnDDZ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8ALE1A70mcoJK7EEhf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v12CJla0GQGe9CSHmq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XLIGOaY0ytBvO7c_Ex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Ay8IXLKE.ZZct3zZvv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XdJNYWok25lbE__gYm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2L2fmCOUGvbKBbayB17Q"/>
</p:tagLst>
</file>

<file path=ppt/theme/theme1.xml><?xml version="1.0" encoding="utf-8"?>
<a:theme xmlns:a="http://schemas.openxmlformats.org/drawingml/2006/main" name="PPT Template Office 2007-2010 (16-9 ratio)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E95E0F"/>
      </a:hlink>
      <a:folHlink>
        <a:srgbClr val="00418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4" ma:contentTypeDescription="Create a new document." ma:contentTypeScope="" ma:versionID="37d6c69e0f0b1eab2d91fd3d2fe12a06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306287739f13a793c1a58b147bf45c68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AverageRating xmlns="http://schemas.microsoft.com/sharepoint/v3" xsi:nil="true"/>
    <PublishingStartDate xmlns="http://schemas.microsoft.com/sharepoint/v3" xsi:nil="true"/>
    <TaxCatchAll xmlns="eaa6d935-851e-4683-8fb3-4830ef9470e6">
      <Value>64</Value>
      <Value>69</Value>
      <Value>57</Value>
      <Value>97</Value>
      <Value>68</Value>
      <Value>73</Value>
    </TaxCatchAll>
    <TaxKeywordTaxHTField xmlns="eaa6d935-851e-4683-8fb3-4830ef9470e6">
      <Terms xmlns="http://schemas.microsoft.com/office/infopath/2007/PartnerControls"/>
    </TaxKeywordTaxHTField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e999b8edfbce4772b22c3a8c74ff36ce xmlns="fdaf2857-34a0-4271-9efd-53feeda81814">
      <Terms xmlns="http://schemas.microsoft.com/office/infopath/2007/PartnerControls"/>
    </e999b8edfbce4772b22c3a8c74ff36ce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05B3AB-DE03-4E70-A7AB-24562E2EA8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4AB0903-C811-4386-89A0-517F35E2B28C}">
  <ds:schemaRefs>
    <ds:schemaRef ds:uri="fdaf2857-34a0-4271-9efd-53feeda81814"/>
    <ds:schemaRef ds:uri="http://purl.org/dc/dcmitype/"/>
    <ds:schemaRef ds:uri="http://purl.org/dc/terms/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eaa6d935-851e-4683-8fb3-4830ef9470e6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A22D130-614C-431C-BC34-0A693743B7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Office 2007-2010 (16-9 ratio)</Template>
  <TotalTime>336</TotalTime>
  <Words>1037</Words>
  <Application>Microsoft Office PowerPoint</Application>
  <PresentationFormat>On-screen Show (16:9)</PresentationFormat>
  <Paragraphs>148</Paragraphs>
  <Slides>42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ourier New</vt:lpstr>
      <vt:lpstr>Wingdings</vt:lpstr>
      <vt:lpstr>PPT Template Office 2007-2010 (16-9 ratio)</vt:lpstr>
      <vt:lpstr>Psychotherapists of new York city</vt:lpstr>
      <vt:lpstr>About the Project</vt:lpstr>
      <vt:lpstr>New York is a city with a well-established ‘talk therapy’ tradition. But who are those therapists? Information is hard to find.</vt:lpstr>
      <vt:lpstr>Solution? Web scraping! But what web site?</vt:lpstr>
      <vt:lpstr>Example: Results of therapist search in one zip code</vt:lpstr>
      <vt:lpstr>Example: Psychology Today page of one psychotherapist</vt:lpstr>
      <vt:lpstr>Psychology Today page of one psychotherapist (cont’d 1)</vt:lpstr>
      <vt:lpstr>Psychology Today page of one psychotherapist (cont’d 2)</vt:lpstr>
      <vt:lpstr>Project Steps</vt:lpstr>
      <vt:lpstr>NYC Psychotherapists: Who Are They?</vt:lpstr>
      <vt:lpstr>What did they study? What are their degrees?</vt:lpstr>
      <vt:lpstr>Where did they study?</vt:lpstr>
      <vt:lpstr>When did they finish their studies?</vt:lpstr>
      <vt:lpstr>How long have they been practicing psychotherapy?</vt:lpstr>
      <vt:lpstr>Years since graduation vs. years in practice</vt:lpstr>
      <vt:lpstr>If you are practicing psychotherapy in NY State without a NY license, you are breaking the law, but…</vt:lpstr>
      <vt:lpstr>Other languages they speak besides English</vt:lpstr>
      <vt:lpstr>NYC Psychotherapists: Fees &amp; Insurance Plans</vt:lpstr>
      <vt:lpstr>How much do they charge per session?</vt:lpstr>
      <vt:lpstr>How much do they charge per session? Do they accept insurance?</vt:lpstr>
      <vt:lpstr>What insurance plans do they accept?</vt:lpstr>
      <vt:lpstr>NYC Psychotherapists – Who Do They Focus on?</vt:lpstr>
      <vt:lpstr>Age groups they specialize in</vt:lpstr>
      <vt:lpstr>Special population groups they are interested in treating</vt:lpstr>
      <vt:lpstr>Most popular (among therapists) therapeutic areas of specialty</vt:lpstr>
      <vt:lpstr>Less popular (among psychotherapist) specialty areas</vt:lpstr>
      <vt:lpstr>Issues therapists specialize in</vt:lpstr>
      <vt:lpstr>Issues few therapists specialize in</vt:lpstr>
      <vt:lpstr>Therapeutic approaches therapists favor</vt:lpstr>
      <vt:lpstr>Less popular therapeutic approaches</vt:lpstr>
      <vt:lpstr>NYC Psychotherapists: What Zip Codes Have More Therapists?</vt:lpstr>
      <vt:lpstr>Is the world just? Do zip codes with higher population have more therapists?</vt:lpstr>
      <vt:lpstr>Is the world just? Do zip codes with higher population have more therapists?</vt:lpstr>
      <vt:lpstr>No wonder: Richer (darker) zip codes have more therapists</vt:lpstr>
      <vt:lpstr>How about median income vs. number of therapists?</vt:lpstr>
      <vt:lpstr>How about TOTAL income vs. number of therapists?</vt:lpstr>
      <vt:lpstr>How about median income vs. session fee?</vt:lpstr>
      <vt:lpstr>Visualization of “therapist density” in NYC by zip code</vt:lpstr>
      <vt:lpstr>Zip codes with the highest “density” of therapists</vt:lpstr>
      <vt:lpstr>Zip codes with the lowest “density” of therapists</vt:lpstr>
      <vt:lpstr>Directions for future research</vt:lpstr>
      <vt:lpstr> Thank you! Q&amp;A</vt:lpstr>
    </vt:vector>
  </TitlesOfParts>
  <Company>GF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[Subtitle of presentation]</dc:subject>
  <dc:creator>Liakhovitski, Dimitri (GfK)</dc:creator>
  <dc:description>Optimized for MS PowerPoint 2010 (optionally can be used under MS PowerPoint 2007).</dc:description>
  <cp:lastModifiedBy>Liakhovitski, Dimitri (GfK)</cp:lastModifiedBy>
  <cp:revision>174</cp:revision>
  <cp:lastPrinted>2011-09-08T07:53:45Z</cp:lastPrinted>
  <dcterms:created xsi:type="dcterms:W3CDTF">2017-10-22T12:54:41Z</dcterms:created>
  <dcterms:modified xsi:type="dcterms:W3CDTF">2017-10-23T23:5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151DFF91B0A44197B29C020F8C642F</vt:lpwstr>
  </property>
  <property fmtid="{D5CDD505-2E9C-101B-9397-08002B2CF9AE}" pid="3" name="Clients">
    <vt:lpwstr>97;#Not applicable|457da623-78f9-49de-8564-b1618c49ba59</vt:lpwstr>
  </property>
  <property fmtid="{D5CDD505-2E9C-101B-9397-08002B2CF9AE}" pid="4" name="Countries">
    <vt:lpwstr>69;#Global|3eaca359-c4b3-4b51-a927-e9852da92384</vt:lpwstr>
  </property>
  <property fmtid="{D5CDD505-2E9C-101B-9397-08002B2CF9AE}" pid="5" name="TaxKeyword">
    <vt:lpwstr/>
  </property>
  <property fmtid="{D5CDD505-2E9C-101B-9397-08002B2CF9AE}" pid="6" name="Solutions">
    <vt:lpwstr>64;#Not applicable|15480a47-f0f1-4795-a643-bf3b2e95805c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